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2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045454545454546E-2"/>
          <c:y val="5.3475935828877004E-2"/>
          <c:w val="0.89113636363636362"/>
          <c:h val="0.89016865487453722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0">
                  <c:v>-5</c:v>
                </c:pt>
                <c:pt idx="1">
                  <c:v>4</c:v>
                </c:pt>
                <c:pt idx="2">
                  <c:v>6</c:v>
                </c:pt>
                <c:pt idx="3">
                  <c:v>0</c:v>
                </c:pt>
                <c:pt idx="4">
                  <c:v>17.07863814401928</c:v>
                </c:pt>
              </c:numCache>
            </c:numRef>
          </c:xVal>
          <c:yVal>
            <c:numRef>
              <c:f>Sheet1!$B$1:$B$13</c:f>
              <c:numCache>
                <c:formatCode>General</c:formatCode>
                <c:ptCount val="13"/>
                <c:pt idx="0">
                  <c:v>16.399999999999999</c:v>
                </c:pt>
                <c:pt idx="1">
                  <c:v>4.5</c:v>
                </c:pt>
                <c:pt idx="2">
                  <c:v>6.2</c:v>
                </c:pt>
                <c:pt idx="3">
                  <c:v>19.5</c:v>
                </c:pt>
                <c:pt idx="4">
                  <c:v>5.4</c:v>
                </c:pt>
              </c:numCache>
            </c:numRef>
          </c:yVal>
          <c:bubbleSize>
            <c:numRef>
              <c:f>Sheet1!$C$1:$C$13</c:f>
              <c:numCache>
                <c:formatCode>General</c:formatCode>
                <c:ptCount val="13"/>
                <c:pt idx="0">
                  <c:v>432</c:v>
                </c:pt>
                <c:pt idx="1">
                  <c:v>160</c:v>
                </c:pt>
                <c:pt idx="2">
                  <c:v>26</c:v>
                </c:pt>
                <c:pt idx="3">
                  <c:v>61</c:v>
                </c:pt>
                <c:pt idx="4">
                  <c:v>46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FEC7-4ADB-AB89-F1A78640487B}"/>
            </c:ext>
          </c:extLst>
        </c:ser>
        <c:ser>
          <c:idx val="1"/>
          <c:order val="1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5">
                  <c:v>22.07863814401928</c:v>
                </c:pt>
                <c:pt idx="6">
                  <c:v>1</c:v>
                </c:pt>
                <c:pt idx="7">
                  <c:v>8</c:v>
                </c:pt>
                <c:pt idx="8">
                  <c:v>-6</c:v>
                </c:pt>
                <c:pt idx="9">
                  <c:v>-2</c:v>
                </c:pt>
              </c:numCache>
            </c:numRef>
          </c:xVal>
          <c:yVal>
            <c:numRef>
              <c:f>Sheet1!$D$1:$D$13</c:f>
              <c:numCache>
                <c:formatCode>General</c:formatCode>
                <c:ptCount val="13"/>
                <c:pt idx="5">
                  <c:v>14.8</c:v>
                </c:pt>
                <c:pt idx="6">
                  <c:v>-1.5</c:v>
                </c:pt>
                <c:pt idx="7">
                  <c:v>1.7</c:v>
                </c:pt>
                <c:pt idx="8">
                  <c:v>8</c:v>
                </c:pt>
                <c:pt idx="9">
                  <c:v>3.4</c:v>
                </c:pt>
              </c:numCache>
            </c:numRef>
          </c:yVal>
          <c:bubbleSize>
            <c:numRef>
              <c:f>Sheet1!$E$1:$E$13</c:f>
              <c:numCache>
                <c:formatCode>General</c:formatCode>
                <c:ptCount val="13"/>
                <c:pt idx="5">
                  <c:v>88</c:v>
                </c:pt>
                <c:pt idx="6">
                  <c:v>203</c:v>
                </c:pt>
                <c:pt idx="7">
                  <c:v>1962</c:v>
                </c:pt>
                <c:pt idx="8">
                  <c:v>501</c:v>
                </c:pt>
                <c:pt idx="9">
                  <c:v>2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FEC7-4ADB-AB89-F1A78640487B}"/>
            </c:ext>
          </c:extLst>
        </c:ser>
        <c:ser>
          <c:idx val="2"/>
          <c:order val="2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10">
                  <c:v>12</c:v>
                </c:pt>
                <c:pt idx="11">
                  <c:v>-4</c:v>
                </c:pt>
                <c:pt idx="12">
                  <c:v>-2</c:v>
                </c:pt>
              </c:numCache>
            </c:numRef>
          </c:xVal>
          <c:yVal>
            <c:numRef>
              <c:f>Sheet1!$F$1:$F$13</c:f>
              <c:numCache>
                <c:formatCode>General</c:formatCode>
                <c:ptCount val="13"/>
                <c:pt idx="10">
                  <c:v>4.7</c:v>
                </c:pt>
                <c:pt idx="11">
                  <c:v>6.4</c:v>
                </c:pt>
                <c:pt idx="12">
                  <c:v>0</c:v>
                </c:pt>
              </c:numCache>
            </c:numRef>
          </c:yVal>
          <c:bubbleSize>
            <c:numRef>
              <c:f>Sheet1!$G$1:$G$13</c:f>
              <c:numCache>
                <c:formatCode>General</c:formatCode>
                <c:ptCount val="13"/>
                <c:pt idx="10">
                  <c:v>40</c:v>
                </c:pt>
                <c:pt idx="11">
                  <c:v>283</c:v>
                </c:pt>
                <c:pt idx="12">
                  <c:v>8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FEC7-4ADB-AB89-F1A786404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76"/>
        <c:showNegBubbles val="0"/>
        <c:axId val="1458752255"/>
        <c:axId val="1"/>
      </c:bubbleChart>
      <c:valAx>
        <c:axId val="1458752255"/>
        <c:scaling>
          <c:orientation val="minMax"/>
          <c:max val="23.07863814401928"/>
          <c:min val="-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0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458752255"/>
        <c:crosses val="min"/>
        <c:crossBetween val="midCat"/>
        <c:majorUnit val="5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0FF51-73B5-4728-AEC9-F2A93ADA45AD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47846F-3C66-415E-8C58-2B08E558C36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3263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1489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07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09296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51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1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590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29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41239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oleObject" Target="../embeddings/oleObject5.bin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image" Target="../media/image4.emf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chart" Target="../charts/chart1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5" imgW="349" imgH="350" progId="TCLayout.ActiveDocument.1">
                  <p:embed/>
                </p:oleObj>
              </mc:Choice>
              <mc:Fallback>
                <p:oleObj name="think-cell 幻灯片" r:id="rId5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682BD4C2-CF94-34D1-EE7B-65B1E62CFB5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8776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bubble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1C5FE2AC-4609-6780-F425-D565BA920B9A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AB189A4-1081-806E-5B21-DF0AB495DFF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F4887B3A-B389-88FC-62C9-B3170458A9C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t_title</a:t>
              </a: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DE901497-3A13-99C2-1DA5-CFABBEF0E38D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84D340F2-9074-8C78-E40B-E3E5B85E0B89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4" name="tc_columnhead">
              <a:extLst>
                <a:ext uri="{FF2B5EF4-FFF2-40B4-BE49-F238E27FC236}">
                  <a16:creationId xmlns:a16="http://schemas.microsoft.com/office/drawing/2014/main" id="{544C981F-8FD6-8E99-A907-08307E6F4B2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5" name="tc_columnheadline">
              <a:extLst>
                <a:ext uri="{FF2B5EF4-FFF2-40B4-BE49-F238E27FC236}">
                  <a16:creationId xmlns:a16="http://schemas.microsoft.com/office/drawing/2014/main" id="{190CE77F-3315-6336-E677-18BF69F882B5}"/>
                </a:ext>
              </a:extLst>
            </p:cNvPr>
            <p:cNvCxnSpPr>
              <a:cxnSpLocks/>
              <a:stCxn id="14" idx="4"/>
              <a:endCxn id="1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18">
            <a:extLst>
              <a:ext uri="{FF2B5EF4-FFF2-40B4-BE49-F238E27FC236}">
                <a16:creationId xmlns:a16="http://schemas.microsoft.com/office/drawing/2014/main" id="{A3AF9EDF-D851-CDF8-66EB-093A5F5D5A7B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, trendlines/partition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60BE6E4D-E662-4396-8106-A06FF59D37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22338" y="2324100"/>
            <a:ext cx="1881188" cy="2060576"/>
          </a:xfrm>
          <a:custGeom>
            <a:avLst/>
            <a:gdLst/>
            <a:ahLst/>
            <a:cxnLst/>
            <a:rect l="0" t="0" r="0" b="0"/>
            <a:pathLst>
              <a:path w="1881188" h="2060576">
                <a:moveTo>
                  <a:pt x="1881187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1881187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B7ECA630-C454-4A7F-91EB-304FD9943C3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686300" y="4384675"/>
            <a:ext cx="2460626" cy="1374776"/>
          </a:xfrm>
          <a:custGeom>
            <a:avLst/>
            <a:gdLst/>
            <a:ahLst/>
            <a:cxnLst/>
            <a:rect l="0" t="0" r="0" b="0"/>
            <a:pathLst>
              <a:path w="2460626" h="1374776">
                <a:moveTo>
                  <a:pt x="2460625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246062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3D08B275-4EAA-4C93-8683-5F83396C83D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22338" y="4384675"/>
            <a:ext cx="1881188" cy="1374776"/>
          </a:xfrm>
          <a:custGeom>
            <a:avLst/>
            <a:gdLst/>
            <a:ahLst/>
            <a:cxnLst/>
            <a:rect l="0" t="0" r="0" b="0"/>
            <a:pathLst>
              <a:path w="1881188" h="1374776">
                <a:moveTo>
                  <a:pt x="1881187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1881187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769FC03D-C84D-4AA6-ADA6-ED6921E37D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03525" y="4384675"/>
            <a:ext cx="1882776" cy="1374776"/>
          </a:xfrm>
          <a:custGeom>
            <a:avLst/>
            <a:gdLst/>
            <a:ahLst/>
            <a:cxnLst/>
            <a:rect l="0" t="0" r="0" b="0"/>
            <a:pathLst>
              <a:path w="1882776" h="1374776">
                <a:moveTo>
                  <a:pt x="1882775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188277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02BB886-8EC9-43D3-A80F-9953C3711B9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803525" y="2324100"/>
            <a:ext cx="1882776" cy="2060576"/>
          </a:xfrm>
          <a:custGeom>
            <a:avLst/>
            <a:gdLst/>
            <a:ahLst/>
            <a:cxnLst/>
            <a:rect l="0" t="0" r="0" b="0"/>
            <a:pathLst>
              <a:path w="1882776" h="2060576">
                <a:moveTo>
                  <a:pt x="1882775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188277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4973B762-67ED-461C-A59F-166B0D035A4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86300" y="2324100"/>
            <a:ext cx="2460626" cy="2060576"/>
          </a:xfrm>
          <a:custGeom>
            <a:avLst/>
            <a:gdLst/>
            <a:ahLst/>
            <a:cxnLst/>
            <a:rect l="0" t="0" r="0" b="0"/>
            <a:pathLst>
              <a:path w="2460626" h="2060576">
                <a:moveTo>
                  <a:pt x="2460625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246062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B1747CFD-8516-2498-4D5C-3A7C6AF16DA8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803525" y="2324100"/>
            <a:ext cx="0" cy="34353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7986EAC4-BEA8-CDEF-6B93-0410C30DC6D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686300" y="2324100"/>
            <a:ext cx="0" cy="34353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7" name="Straight Connector 576">
            <a:extLst>
              <a:ext uri="{FF2B5EF4-FFF2-40B4-BE49-F238E27FC236}">
                <a16:creationId xmlns:a16="http://schemas.microsoft.com/office/drawing/2014/main" id="{B4649377-F6DA-E8FA-3F4D-94147992482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922338" y="4384675"/>
            <a:ext cx="6224588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9" name="Straight Connector 578">
            <a:extLst>
              <a:ext uri="{FF2B5EF4-FFF2-40B4-BE49-F238E27FC236}">
                <a16:creationId xmlns:a16="http://schemas.microsoft.com/office/drawing/2014/main" id="{F215545B-823D-BF8E-FBCE-C8B0127478D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28035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C85A10B7-11B5-4868-1304-6B091C930F3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922338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1" name="Straight Connector 580">
            <a:extLst>
              <a:ext uri="{FF2B5EF4-FFF2-40B4-BE49-F238E27FC236}">
                <a16:creationId xmlns:a16="http://schemas.microsoft.com/office/drawing/2014/main" id="{94ED4EA3-7C96-E943-26DE-3C7FAD3A611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8637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2" name="Straight Connector 581">
            <a:extLst>
              <a:ext uri="{FF2B5EF4-FFF2-40B4-BE49-F238E27FC236}">
                <a16:creationId xmlns:a16="http://schemas.microsoft.com/office/drawing/2014/main" id="{0DA5614B-D7E5-5522-41B6-955619B5632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3744913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Straight Connector 582">
            <a:extLst>
              <a:ext uri="{FF2B5EF4-FFF2-40B4-BE49-F238E27FC236}">
                <a16:creationId xmlns:a16="http://schemas.microsoft.com/office/drawing/2014/main" id="{F2DBEF67-E7BB-7263-3A39-DD47DB17967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686300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4" name="Straight Connector 583">
            <a:extLst>
              <a:ext uri="{FF2B5EF4-FFF2-40B4-BE49-F238E27FC236}">
                <a16:creationId xmlns:a16="http://schemas.microsoft.com/office/drawing/2014/main" id="{D7AAAF0E-6640-9886-7331-63FA7E9EAF1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6205538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445E93A5-642F-785D-68AC-02212E3E823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1469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5" name="Chart 3">
            <a:extLst>
              <a:ext uri="{FF2B5EF4-FFF2-40B4-BE49-F238E27FC236}">
                <a16:creationId xmlns:a16="http://schemas.microsoft.com/office/drawing/2014/main" id="{FAAB9D52-9AAB-45AC-9118-811708DD0371}"/>
              </a:ext>
            </a:extLst>
          </p:cNvPr>
          <p:cNvGraphicFramePr/>
          <p:nvPr>
            <p:custDataLst>
              <p:tags r:id="rId19"/>
            </p:custDataLst>
            <p:extLst/>
          </p:nvPr>
        </p:nvGraphicFramePr>
        <p:xfrm>
          <a:off x="244475" y="2117725"/>
          <a:ext cx="6985000" cy="385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587" name="Text Placeholder 2">
            <a:extLst>
              <a:ext uri="{FF2B5EF4-FFF2-40B4-BE49-F238E27FC236}">
                <a16:creationId xmlns:a16="http://schemas.microsoft.com/office/drawing/2014/main" id="{9C298B3F-76B9-DD24-F99C-F38530A283C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554412" y="5876925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D7DF2E-4015-4BB8-A435-B041B8C9B88E}" type="datetime'''''''''''''+''''''''''''''''5''''''%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5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8" name="Text Placeholder 2">
            <a:extLst>
              <a:ext uri="{FF2B5EF4-FFF2-40B4-BE49-F238E27FC236}">
                <a16:creationId xmlns:a16="http://schemas.microsoft.com/office/drawing/2014/main" id="{B763CF08-EF85-0154-E483-1CD89858E02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57700" y="5876925"/>
            <a:ext cx="4587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98CBBB6-4D4B-40F6-9E4C-C63894D161C5}" type="datetime'+''''''''''''''''''''''''''''''1''''''''''''''''0''''%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9" name="Text Placeholder 2">
            <a:extLst>
              <a:ext uri="{FF2B5EF4-FFF2-40B4-BE49-F238E27FC236}">
                <a16:creationId xmlns:a16="http://schemas.microsoft.com/office/drawing/2014/main" id="{FAF66C06-B5E5-C60C-1929-99C3EC26C3A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961063" y="5876925"/>
            <a:ext cx="490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75ED2F-BE50-42D5-9185-56F80B5C6748}" type="datetime'''''+3''''''''''''''''''''''''''''''''''''5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35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0" name="Text Placeholder 2">
            <a:extLst>
              <a:ext uri="{FF2B5EF4-FFF2-40B4-BE49-F238E27FC236}">
                <a16:creationId xmlns:a16="http://schemas.microsoft.com/office/drawing/2014/main" id="{DEBB1FD4-7F1C-10A0-1A61-60BEE860285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897688" y="5876925"/>
            <a:ext cx="498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984F91-BF8F-46F5-814A-EB04C8038201}" type="datetime'+''''''''''''''''''''''''''4''''''0''''''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4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1" name="Text Placeholder 2">
            <a:extLst>
              <a:ext uri="{FF2B5EF4-FFF2-40B4-BE49-F238E27FC236}">
                <a16:creationId xmlns:a16="http://schemas.microsoft.com/office/drawing/2014/main" id="{FAF2EC01-F52F-2A84-1388-AA42BF248D9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8025" y="5876925"/>
            <a:ext cx="430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7DC72B-E153-4F62-A93D-2ABBCFD73D93}" type="datetime'''''-''''''''''''''''''1''''''''''''0''''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0%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2" name="Text Placeholder 2">
            <a:extLst>
              <a:ext uri="{FF2B5EF4-FFF2-40B4-BE49-F238E27FC236}">
                <a16:creationId xmlns:a16="http://schemas.microsoft.com/office/drawing/2014/main" id="{2A8C8505-94CE-FED5-89E7-4F9F4FE9B10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687513" y="5876925"/>
            <a:ext cx="352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931DE2-C6E0-4B59-9DFA-23D730805F5C}" type="datetime'''''''-''5''''''''''''''''''%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3" name="Text Placeholder 2">
            <a:extLst>
              <a:ext uri="{FF2B5EF4-FFF2-40B4-BE49-F238E27FC236}">
                <a16:creationId xmlns:a16="http://schemas.microsoft.com/office/drawing/2014/main" id="{60FCD046-3A20-8FE8-3E31-F7B5CDB76BC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670174" y="5876925"/>
            <a:ext cx="266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0B2FC97-86B9-417D-AF03-DCF705C05729}" type="datetime'0''''''''''%''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19" name="任意多边形: 形状 18">
            <a:extLst>
              <a:ext uri="{FF2B5EF4-FFF2-40B4-BE49-F238E27FC236}">
                <a16:creationId xmlns:a16="http://schemas.microsoft.com/office/drawing/2014/main" id="{9D73A916-B6CD-4EE1-899D-B9EFBE6BB79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492750" y="568642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FA1F61F5-176F-4FFA-B346-ACA4F43339B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492750" y="568642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DF750D0-A924-4196-93DD-8B13D542CDF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549900" y="568642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7" name="Text Placeholder 2">
            <a:extLst>
              <a:ext uri="{FF2B5EF4-FFF2-40B4-BE49-F238E27FC236}">
                <a16:creationId xmlns:a16="http://schemas.microsoft.com/office/drawing/2014/main" id="{A00156DD-8C75-3DD6-100B-F941FD802D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009775" y="3697288"/>
            <a:ext cx="1036638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D01A58-ECFF-47D4-9D36-B305E0260F9F}" type="datetime'''C''''om''''p''''a''n''''''''''''''y'''' ''9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8" name="Text Placeholder 2">
            <a:extLst>
              <a:ext uri="{FF2B5EF4-FFF2-40B4-BE49-F238E27FC236}">
                <a16:creationId xmlns:a16="http://schemas.microsoft.com/office/drawing/2014/main" id="{5958EE6A-AFE2-8856-BF5D-1EB5EE82812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844675" y="4710113"/>
            <a:ext cx="1116013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9A3703-842D-4B39-8990-0FC6712EEC2A}" type="datetime'''C''''om''''''''''''''''''''''p''''''''any'''' 1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9" name="Text Placeholder 2">
            <a:extLst>
              <a:ext uri="{FF2B5EF4-FFF2-40B4-BE49-F238E27FC236}">
                <a16:creationId xmlns:a16="http://schemas.microsoft.com/office/drawing/2014/main" id="{42EF8D92-D65D-1AF6-4D94-E62A895D2BA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622800" y="4044950"/>
            <a:ext cx="1074738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1DD24E-A2F2-40E4-832A-FAB2B9F07317}" type="datetime'''''Co''''''''''mpany'''''' ''''''''1''''''''''''''''1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0" name="Text Placeholder 2">
            <a:extLst>
              <a:ext uri="{FF2B5EF4-FFF2-40B4-BE49-F238E27FC236}">
                <a16:creationId xmlns:a16="http://schemas.microsoft.com/office/drawing/2014/main" id="{38B63835-EC0C-5F5E-F378-C76782BA85E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293813" y="4519613"/>
            <a:ext cx="1111250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8731DE-B736-46D7-AA15-904C71096D69}" type="datetime'''Com''''''''''''''p''''''''a''ny 1''''''''''''''''''2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1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1" name="Text Placeholder 2">
            <a:extLst>
              <a:ext uri="{FF2B5EF4-FFF2-40B4-BE49-F238E27FC236}">
                <a16:creationId xmlns:a16="http://schemas.microsoft.com/office/drawing/2014/main" id="{5A7E04CF-7118-97B9-2113-6C1FB56F14C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706563" y="5324475"/>
            <a:ext cx="1109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110E19-19DD-4536-B5AE-EEC080CF6E49}" type="datetime'''''''C''''''''o''m''p''a''''''''ny'''''''''''''' ''13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1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2" name="Text Placeholder 2">
            <a:extLst>
              <a:ext uri="{FF2B5EF4-FFF2-40B4-BE49-F238E27FC236}">
                <a16:creationId xmlns:a16="http://schemas.microsoft.com/office/drawing/2014/main" id="{90E28619-7E90-89B8-8169-E0CF1A7302F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499100" y="4662488"/>
            <a:ext cx="1038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E2274A6-4445-40F9-ABC5-1BEFBA680C10}" type="datetime'C''''o''m''''''''''pa''''''''''''ny'' ''''''''''''''''''5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3" name="Text Placeholder 2">
            <a:extLst>
              <a:ext uri="{FF2B5EF4-FFF2-40B4-BE49-F238E27FC236}">
                <a16:creationId xmlns:a16="http://schemas.microsoft.com/office/drawing/2014/main" id="{1B0D7ED5-4E97-C329-5766-C223DC349E9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954338" y="2506663"/>
            <a:ext cx="1039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9F3E11-651C-4AFF-A93A-219C32383082}" type="datetime'''''''''''Co''''''m''pan''''''''''''''''y'''' 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4" name="Text Placeholder 2">
            <a:extLst>
              <a:ext uri="{FF2B5EF4-FFF2-40B4-BE49-F238E27FC236}">
                <a16:creationId xmlns:a16="http://schemas.microsoft.com/office/drawing/2014/main" id="{9C8A361B-3FCF-CF8F-9D22-A748A61C247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724274" y="3829050"/>
            <a:ext cx="1035050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7C7038-2CED-4ED5-8A13-2E42458562A5}" type="datetime'Co''''''mp''a''''''''''''''''''''''''n''''''y'' ''''''''3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5" name="Text Placeholder 2">
            <a:extLst>
              <a:ext uri="{FF2B5EF4-FFF2-40B4-BE49-F238E27FC236}">
                <a16:creationId xmlns:a16="http://schemas.microsoft.com/office/drawing/2014/main" id="{6F460FF3-5DAF-8CAF-5581-79FAC6345C9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24162" y="4008438"/>
            <a:ext cx="1036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F9D4D7-C0C6-4F01-B632-37412C2DF588}" type="datetime'''C''o''m''''p''''''''''''''''''''''an''''y'''' ''2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6" name="Text Placeholder 2">
            <a:extLst>
              <a:ext uri="{FF2B5EF4-FFF2-40B4-BE49-F238E27FC236}">
                <a16:creationId xmlns:a16="http://schemas.microsoft.com/office/drawing/2014/main" id="{8A1A9FEF-D42A-0367-37AC-2555C062A84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768975" y="2932113"/>
            <a:ext cx="1036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314DD3-51B9-4B4A-B606-41C585186532}" type="datetime'''''''''''''''Co''''''''''mp''''''''''''a''ny'''' ''6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6E06974-4EE9-AEE5-DED7-0487AC84BCA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604963" y="32083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0649E75-A52A-4E46-999E-D3AA31692927}" type="datetime'C''''om''''''''''p''''''''a''''ny'' ''1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8" name="Text Placeholder 2">
            <a:extLst>
              <a:ext uri="{FF2B5EF4-FFF2-40B4-BE49-F238E27FC236}">
                <a16:creationId xmlns:a16="http://schemas.microsoft.com/office/drawing/2014/main" id="{59A5AF70-3F77-7DB0-EF8B-AD6D9F0D8A9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68300" y="1862138"/>
            <a:ext cx="1465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50D41CF-8E87-4FD0-965B-5F691E07E39F}" type="datetime'''''R''''''''e''t''u''r''''n o''''''n ''''''''cap''it''''a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turn on capita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A452ABDE-54BF-C9E2-F039-4E4D3FE4F20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539038" y="5334000"/>
            <a:ext cx="688975" cy="85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479F1A3-73AC-41CF-B6DC-BA664796A612}" type="datetime'3Y&#10;''''''''''r''''e''ve''nu''''''''''''e&#10;C''AG''R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Y
revenue
CAGR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6120B9BF-D7C7-050E-E6AC-A3469BB6F4D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836862" y="5537200"/>
            <a:ext cx="102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DF1B5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221B33-9ECF-4F18-976E-453607DE9D50}" type="datetime'''Co''''''''''mp''''''''''''a''''''''n''''''''y'''''''' ''7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4574DC74-248D-8197-8B15-F893E9DB50D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790950" y="4732338"/>
            <a:ext cx="1039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2DCCE4F-95C4-4130-A983-00FEF7AF6981}" type="datetime'''''Co''''''m''''p''a''''n''y'''''''''''' 8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mpany 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2" name="Oval 611">
            <a:extLst>
              <a:ext uri="{FF2B5EF4-FFF2-40B4-BE49-F238E27FC236}">
                <a16:creationId xmlns:a16="http://schemas.microsoft.com/office/drawing/2014/main" id="{4B7D3763-1E92-3647-B72B-7ED07A7BCA3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232650" y="2387600"/>
            <a:ext cx="161925" cy="16192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3" name="Oval 612">
            <a:extLst>
              <a:ext uri="{FF2B5EF4-FFF2-40B4-BE49-F238E27FC236}">
                <a16:creationId xmlns:a16="http://schemas.microsoft.com/office/drawing/2014/main" id="{95C97046-9F98-7578-43A0-0CADEF7E22A7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232650" y="2620963"/>
            <a:ext cx="161925" cy="1619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4" name="Oval 613">
            <a:extLst>
              <a:ext uri="{FF2B5EF4-FFF2-40B4-BE49-F238E27FC236}">
                <a16:creationId xmlns:a16="http://schemas.microsoft.com/office/drawing/2014/main" id="{A9667F15-C4DD-1AB0-E941-692C520B98D9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232650" y="2854325"/>
            <a:ext cx="161925" cy="161925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5" name="Text Placeholder 2">
            <a:extLst>
              <a:ext uri="{FF2B5EF4-FFF2-40B4-BE49-F238E27FC236}">
                <a16:creationId xmlns:a16="http://schemas.microsoft.com/office/drawing/2014/main" id="{78D9F252-16F9-A044-3488-DD5B1D5896E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72362" y="2384425"/>
            <a:ext cx="515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97105F-7ABF-474C-ACC6-55887D029E5D}" type="datetime'''''''''''E''''''''ner''''''''''g''''''''''''''''''''''y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nergy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6" name="Text Placeholder 2">
            <a:extLst>
              <a:ext uri="{FF2B5EF4-FFF2-40B4-BE49-F238E27FC236}">
                <a16:creationId xmlns:a16="http://schemas.microsoft.com/office/drawing/2014/main" id="{55FBF276-2052-5730-C3E8-7D62363DA88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472363" y="2617788"/>
            <a:ext cx="495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78F68CC-160A-46F4-8328-DCEE9DD13F1E}" type="datetime'''''''M''''''i''nin''''''''''''''''''''''''''''''''g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ning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DFC0B400-24C9-A4B3-8793-32126E880E0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472363" y="2851150"/>
            <a:ext cx="657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87C65B-B10B-4789-A53E-E022FE8C9DA6}" type="datetime'L''''''''''og''''''''''''''''''is''''''''''''''''''''tics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ogistics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8" name="Oval 617">
            <a:extLst>
              <a:ext uri="{FF2B5EF4-FFF2-40B4-BE49-F238E27FC236}">
                <a16:creationId xmlns:a16="http://schemas.microsoft.com/office/drawing/2014/main" id="{007F437A-5300-7720-268C-26A3A4A488EC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7212013" y="3159125"/>
            <a:ext cx="282575" cy="282575"/>
          </a:xfrm>
          <a:prstGeom prst="ellipse">
            <a:avLst/>
          </a:prstGeom>
          <a:pattFill prst="wdUpDiag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9" name="Text Placeholder 2">
            <a:extLst>
              <a:ext uri="{FF2B5EF4-FFF2-40B4-BE49-F238E27FC236}">
                <a16:creationId xmlns:a16="http://schemas.microsoft.com/office/drawing/2014/main" id="{75CE33E6-D61A-1ECD-E9E8-F70850BDBC6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550150" y="3216275"/>
            <a:ext cx="595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ize =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venu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661A896-07A5-43D7-9F20-0746E3FE8006}"/>
              </a:ext>
            </a:extLst>
          </p:cNvPr>
          <p:cNvSpPr txBox="1"/>
          <p:nvPr/>
        </p:nvSpPr>
        <p:spPr>
          <a:xfrm>
            <a:off x="6205538" y="770562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>
                <a:solidFill>
                  <a:srgbClr val="575757"/>
                </a:solidFill>
              </a:rPr>
              <a:t>请手动填入图表内数据</a:t>
            </a:r>
            <a:endParaRPr lang="zh-CN" altLang="en-US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169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xev35ZTv9RIeawMbrJ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9js21aznHYkf6aoja9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He2_X.GtFv1Bv_X1Pv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UcDrDOWIzGMUxFFGr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PIg1rCXhDJaNRk.Fx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nlrbU0d1F4.wWEW5If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p_0N1943dJiC826Lw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GQqdhBz0iPofwTNfT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HbGgU2L90c_RG5kuea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ZxUMtKkluNxpcoX2A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Q220FbTYjeliT3DoBX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AFe9SLlcXJvJWsLRL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OOK8i_Xc6iqATDEquM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CYyewKiDt_6wWKrs6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aj2qwug_4wZRJyfob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uNw3Shj1yyIZLmGw3P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1vvAY2riouSXs8.xO2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Ku_eVQIcCkfcHmFVdw5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ElMeOqW24pL3X3sgeS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mdz84F0ytwTkEp6I8b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ZLLWW4SNCOaBX1Ox.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7SSywX7nofx6drXrU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6c21GsmxI5rrR9HDtA8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WTIW1hRXNu8oghARU1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qTyyiKeP6TQOkWn7nZ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38t6zTEsk0a.JNZxkr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KvukYAEIDKFERWI0b1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aBKWXnUP6CyHkuQzJ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zKhPpp2hXss7UgO4oC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Hcvr6lwPOGlqau5zx_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G9L3LEl7U5MARjT0us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a9Mfkv6ueiMIKdq6q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9_Q_l8OoqjiY1H4qXG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Od8NsNpmnuOdzIEHuv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D0uaQv2KrIr787ZQs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eOe73s_cfgWuoohgRq3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LuVgyS90HzZcfPYMHt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eYx2Wd3DvRU8DvzLUD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gY.sGRm887Zvw5rqxa0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LvvidRckUeicCHd7o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NEob77K2HlHFpIlvIp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EB4gyu38YDAPaS7Xu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_1I4SLlXZdQigFMOl9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Jswda6Og1N.VsgtDC4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QtQvoevjhvkSZZHVZ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yNNtlDtlrDoHb1aqz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qzcxE546hI.OfGFHn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oHjEqECRMVJ06XHl2r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nXq_oAQaFObrfGhXlB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VJhvFQ67htQXVv98G7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3</Words>
  <Application>Microsoft Office PowerPoint</Application>
  <PresentationFormat>宽屏</PresentationFormat>
  <Paragraphs>3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20:45Z</dcterms:created>
  <dcterms:modified xsi:type="dcterms:W3CDTF">2025-09-10T07:21:33Z</dcterms:modified>
</cp:coreProperties>
</file>